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12"/>
  </p:notesMasterIdLst>
  <p:sldIdLst>
    <p:sldId id="257" r:id="rId6"/>
    <p:sldId id="5529" r:id="rId7"/>
    <p:sldId id="5532" r:id="rId8"/>
    <p:sldId id="4675" r:id="rId9"/>
    <p:sldId id="5534" r:id="rId10"/>
    <p:sldId id="4672" r:id="rId11"/>
  </p:sldIdLst>
  <p:sldSz cx="12192000" cy="6858000"/>
  <p:notesSz cx="6858000" cy="9144000"/>
  <p:custDataLst>
    <p:tags r:id="rId13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ola Andrea Galera" initials="PAG" lastIdx="1" clrIdx="0">
    <p:extLst>
      <p:ext uri="{19B8F6BF-5375-455C-9EA6-DF929625EA0E}">
        <p15:presenceInfo xmlns:p15="http://schemas.microsoft.com/office/powerpoint/2012/main" userId="S::GALERAP1@basfad.basf.net::8eec8249-46b4-4dba-a7d0-a4fb21df63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5E84"/>
    <a:srgbClr val="1C5EA2"/>
    <a:srgbClr val="3A5F85"/>
    <a:srgbClr val="7CB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6" d="100"/>
          <a:sy n="56" d="100"/>
        </p:scale>
        <p:origin x="845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17409D-9B38-4130-90F9-A21C120C8AC4}" type="datetimeFigureOut">
              <a:rPr lang="pt-BR" smtClean="0"/>
              <a:t>17/05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BD146D-FB0C-44C9-BA4E-BC801F29F1F1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5123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FCF0CA6D-2B6A-4B9B-8DE7-4B79A28EE3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13010" y="10160529"/>
            <a:ext cx="2917021" cy="5365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6A8259CB-69F4-4BBA-86BC-DFEC09A95F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10160529"/>
            <a:ext cx="2917021" cy="53657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ng Vertraulich</a:t>
            </a:r>
          </a:p>
        </p:txBody>
      </p:sp>
    </p:spTree>
    <p:extLst>
      <p:ext uri="{BB962C8B-B14F-4D97-AF65-F5344CB8AC3E}">
        <p14:creationId xmlns:p14="http://schemas.microsoft.com/office/powerpoint/2010/main" val="1749462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799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DF78C-5225-4513-98DD-D5AAD7549988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0887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9073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essia: PDI e Metas // Bruno Ferrante: mensagem para prof. </a:t>
            </a:r>
            <a:r>
              <a:rPr lang="de-DE"/>
              <a:t>secretariado</a:t>
            </a: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FCF0CA6D-2B6A-4B9B-8DE7-4B79A28EE3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13010" y="10160529"/>
            <a:ext cx="2917021" cy="5365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6A8259CB-69F4-4BBA-86BC-DFEC09A95F5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10160529"/>
            <a:ext cx="2917021" cy="53657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ng Vertraulich</a:t>
            </a:r>
          </a:p>
        </p:txBody>
      </p:sp>
    </p:spTree>
    <p:extLst>
      <p:ext uri="{BB962C8B-B14F-4D97-AF65-F5344CB8AC3E}">
        <p14:creationId xmlns:p14="http://schemas.microsoft.com/office/powerpoint/2010/main" val="3814587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F46E9-7904-4FD8-82D0-66E6EAD9EF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441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D09FC8-0E22-479E-B6B4-D7F0F3137B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EA2FC73-E974-43EE-9CE6-D68C597912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3C37B6D-7380-4EC2-AB5F-D73AEFB359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6ABC7F7-E6C7-4290-BC03-CC4A238B2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2DE2CEA-41B4-4E2E-A85A-34B3CB44C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0499628"/>
      </p:ext>
    </p:extLst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5C0279-FD9B-4680-8486-BB5B19079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4854949C-90F4-44AA-8CFC-B0F9E05630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D963A87-495C-47FB-A749-5F6C4B2E3D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CDF868B-37CB-4EB8-A94F-4058C2A184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F885B0A-5A65-4DA9-BB97-6319508D8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2032589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EC704DE-7D65-4486-86BD-33E5B534C6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524098C-DF7E-4470-B95C-236215A4EF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EBBD54E-C86E-4C05-9D2F-5C4CEFCF6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9D612CF-AD08-44EB-9C92-C534FA81F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DDE044-1118-406B-B6A9-2383B2D99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26298421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154C6DE1-7BB1-4C0F-81DB-69EB4F7002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r>
              <a:rPr lang="pt-BR"/>
              <a:t>28.09.2018</a:t>
            </a:r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00665DE9-7EC3-48A1-83F9-41127DBB61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9C713D9C-0C89-4530-8779-550EA07BE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548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30714BB5-5B15-4044-95BB-D1198A687A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29" y="1944000"/>
            <a:ext cx="1175388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buClr>
                <a:schemeClr val="accent1"/>
              </a:buClr>
              <a:defRPr/>
            </a:lvl1pPr>
            <a:lvl2pPr marL="719138" indent="-452438"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r>
              <a:rPr lang="pt-BR"/>
              <a:t>28.09.2018</a:t>
            </a:r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336054"/>
      </p:ext>
    </p:extLst>
  </p:cSld>
  <p:clrMapOvr>
    <a:masterClrMapping/>
  </p:clrMapOvr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r>
              <a:rPr lang="pt-BR"/>
              <a:t>28.09.2018</a:t>
            </a:r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1450216"/>
      </p:ext>
    </p:extLst>
  </p:cSld>
  <p:clrMapOvr>
    <a:masterClrMapping/>
  </p:clrMapOvr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SF_Finale_V10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7DDC7F9-56F0-4E94-842B-5FB9067B1505}"/>
              </a:ext>
            </a:extLst>
          </p:cNvPr>
          <p:cNvGrpSpPr/>
          <p:nvPr/>
        </p:nvGrpSpPr>
        <p:grpSpPr>
          <a:xfrm>
            <a:off x="2120" y="0"/>
            <a:ext cx="12187766" cy="6858000"/>
            <a:chOff x="2119" y="0"/>
            <a:chExt cx="12186180" cy="6858000"/>
          </a:xfrm>
        </p:grpSpPr>
        <p:pic>
          <p:nvPicPr>
            <p:cNvPr id="3" name="Picture 5" descr="C:\Documents and Settings\ROESSO\My Documents\Ablage\Corporate Design\PowerPoint\Logos Wizard\BASFc_Q_PPT_38_blau-dunkel.tif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19" y="0"/>
              <a:ext cx="12186180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126545A0-B1A6-4A69-9FD9-A3022FFC0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7439" y="2317598"/>
              <a:ext cx="6183516" cy="22342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6475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7" name="Datumsplatzhalter 5">
            <a:extLst>
              <a:ext uri="{FF2B5EF4-FFF2-40B4-BE49-F238E27FC236}">
                <a16:creationId xmlns:a16="http://schemas.microsoft.com/office/drawing/2014/main" id="{719254D1-AA6F-4875-8C3C-16F2E2F18C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17.05.2024</a:t>
            </a:fld>
            <a:endParaRPr lang="de-DE" dirty="0"/>
          </a:p>
        </p:txBody>
      </p:sp>
      <p:sp>
        <p:nvSpPr>
          <p:cNvPr id="28" name="Foliennummernplatzhalter 7">
            <a:extLst>
              <a:ext uri="{FF2B5EF4-FFF2-40B4-BE49-F238E27FC236}">
                <a16:creationId xmlns:a16="http://schemas.microsoft.com/office/drawing/2014/main" id="{8C2E8B2F-EAAA-4A6A-9665-40667A0A95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AC5601B-0CFD-4DF8-8F58-384C08F635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48396" y="6527542"/>
            <a:ext cx="7641370" cy="22853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tabLst/>
              <a:defRPr sz="9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| Source:</a:t>
            </a:r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64975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154C6DE1-7BB1-4C0F-81DB-69EB4F7002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r>
              <a:rPr lang="pt-BR"/>
              <a:t>28.09.2018</a:t>
            </a:r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00665DE9-7EC3-48A1-83F9-41127DBB61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9C713D9C-0C89-4530-8779-550EA07BE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019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FA3F74-6A80-4CA3-B28F-16D595B02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4FA06D4-A156-4162-A582-CEC9DCB0A6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1EB400D-309E-47D3-A5B2-100C225A9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522442C-7FC1-4B4D-81A6-1A33D1C92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3492DE4-55D3-49CF-9F73-1B6132ABC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8901395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2E9B96-AEE8-4889-914F-D69C8F6E9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5FBFCEC-942D-44E7-B928-34C058A6F3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8F4227C-FF56-4452-B20A-D8DDB4B19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6A7D2A8-978E-4722-8ABB-FF362ACF1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654F359F-2456-4818-9E8D-ACF95BE9D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9460072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651258-D3F1-409B-A1C1-F9F91E047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29DB6EA-CBBC-425C-B237-E5A620061B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DD9B792-A1DD-4BDA-83A2-9DC5A5E983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EC66562-F9BE-48CC-9BD4-5EF3D3FC29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70C24F6-030D-454D-B2E8-ED85450FD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661FC15-FD1A-4FF1-B5F5-7C95FAA73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27386687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FCF0F5-A340-4671-99D2-52972C81B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CC7F45C-A9BF-4BA1-9861-F330BC4189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E1701F6-82B0-4A25-881E-FF164C4D4C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813D54EB-C029-454E-9F50-D8F51F5F2F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11058926-6E0A-4527-B2FE-03F44E8D7A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CFCCF66-DE61-47A5-BE7D-5A3BD9407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A736F097-F5F6-474E-A5FD-82AFA57D9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B6BB7EE8-3F48-447D-951A-CD9A32237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881148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C65994-6E9E-4687-8B42-BD7F41F6C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B9243C4F-AC4C-48AD-983E-6BFCF2785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765AC6B2-C29B-4BF9-BC4F-9DB43CD1C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32CEA07F-C718-4578-96C2-F97E90B2C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3763989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072D1D37-242A-4069-A907-3151537869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E078E09A-84ED-42AD-B1DC-45E8335BB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9BCD131-43D2-4419-9FE5-88B4762F2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4389872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D68219-F7A2-48CD-8BDF-405D78D73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4F00220-72F2-410F-AE32-D440EED4EA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AE16754-172C-4E24-BA40-08C1056C57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AF3083B-F664-4AE9-B0F6-4D2F74B45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C0B8BCA-24C0-495F-B4F3-718CB77DB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713BA4A-BD35-43B3-ACF4-841D242EC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0789737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DD3427-B72D-4B8F-94F2-5CF7FA8A9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1B775A0-4054-4304-8E8B-31F888BD28A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8C8E3D4-5EBE-4707-A129-0ECADC0812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0015928-0DBF-4CA4-AC5F-484FCC4A5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pt-BR"/>
              <a:t>28.09.2018</a:t>
            </a: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947BC1A-9BE2-4C5A-9F35-6924FF88D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552D343-D6AB-44B2-8316-B9C3368B5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00103817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2E632E3-CBC3-4FAC-B357-90FBABC0E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02955FF-1133-4049-A2B9-B26128E195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3A00072-A4ED-4488-B0CC-F2C25CA569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pt-BR"/>
              <a:t>28.09.2018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16E569D-51E7-46EF-8A4A-A2A93D2AEC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B8E5561-F629-426C-B678-027C9C8571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630BF-50A5-44CD-8164-5D31025B625B}" type="slidenum">
              <a:rPr lang="pt-BR" smtClean="0"/>
              <a:t>‹#›</a:t>
            </a:fld>
            <a:endParaRPr lang="pt-BR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9AA4B7-DFC6-7B40-07FC-9D50D438DAF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5625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179291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001DC779-91E7-4043-9B4D-0404EA328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89" imgH="289" progId="TCLayout.ActiveDocument.1">
                  <p:embed/>
                </p:oleObj>
              </mc:Choice>
              <mc:Fallback>
                <p:oleObj name="think-cell Slide" r:id="rId9" imgW="289" imgH="289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001DC779-91E7-4043-9B4D-0404EA32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 hidden="1">
            <a:extLst>
              <a:ext uri="{FF2B5EF4-FFF2-40B4-BE49-F238E27FC236}">
                <a16:creationId xmlns:a16="http://schemas.microsoft.com/office/drawing/2014/main" id="{265485F5-8973-4166-B221-933BA413EBE4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D7B6BC95-8EEB-4817-BBEE-BFB3C1456F30}"/>
              </a:ext>
            </a:extLst>
          </p:cNvPr>
          <p:cNvGrpSpPr/>
          <p:nvPr userDrawn="1"/>
        </p:nvGrpSpPr>
        <p:grpSpPr>
          <a:xfrm>
            <a:off x="9598860" y="6092575"/>
            <a:ext cx="2592337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2019ED6-12CF-4A62-86DE-85747B9226F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5C10B800-1D38-4CC4-8BDB-98E1095D92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592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8ACE506A-0E4B-4DF0-9E21-2FB264D53D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r>
              <a:rPr lang="pt-BR"/>
              <a:t>28.09.2018</a:t>
            </a:r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22A39E5B-DB5C-4AB3-829E-ED138EF14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93BAA22-3B96-4875-B441-E07DB937DF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3EDC1E47-FF61-41E0-9C92-E40774973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C9F4733D-C88A-4205-8841-88E70A657D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29" y="1943999"/>
            <a:ext cx="1175388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976D2C-D9EB-53D9-B6FA-0B85F737C1E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5625" y="6642100"/>
            <a:ext cx="4556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t-BR"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583525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hdr="0" ft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004A96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004A96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61950" algn="l" defTabSz="914400" rtl="0" eaLnBrk="1" fontAlgn="auto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004A96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5AAA7C29-CFB9-45DA-8A11-E6603089CC7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CB9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4" name="Imagem 3" descr="Uma imagem contendo guarda-chuva&#10;&#10;Descrição gerada automaticamente">
            <a:extLst>
              <a:ext uri="{FF2B5EF4-FFF2-40B4-BE49-F238E27FC236}">
                <a16:creationId xmlns:a16="http://schemas.microsoft.com/office/drawing/2014/main" id="{33AC63F3-79AE-40C6-A1A7-9D0F893543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614" y="-1411"/>
            <a:ext cx="11177386" cy="6860822"/>
          </a:xfrm>
          <a:prstGeom prst="rect">
            <a:avLst/>
          </a:prstGeom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4C4E1FC-12B7-4313-A74B-A5845A98E99F}"/>
              </a:ext>
            </a:extLst>
          </p:cNvPr>
          <p:cNvGrpSpPr/>
          <p:nvPr/>
        </p:nvGrpSpPr>
        <p:grpSpPr>
          <a:xfrm>
            <a:off x="-1389120" y="688330"/>
            <a:ext cx="6193611" cy="1079859"/>
            <a:chOff x="1" y="864000"/>
            <a:chExt cx="6194418" cy="1080000"/>
          </a:xfrm>
          <a:solidFill>
            <a:srgbClr val="004A96"/>
          </a:solidFill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95083B83-6A05-459F-9D55-9B0CEC93591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>
                <a:solidFill>
                  <a:srgbClr val="FFFFFF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AB8D210A-CDF9-42F2-A1A7-898FAF5CBF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  <a:grpFill/>
          </p:spPr>
        </p:pic>
      </p:grpSp>
      <p:sp>
        <p:nvSpPr>
          <p:cNvPr id="15" name="Titel 1">
            <a:extLst>
              <a:ext uri="{FF2B5EF4-FFF2-40B4-BE49-F238E27FC236}">
                <a16:creationId xmlns:a16="http://schemas.microsoft.com/office/drawing/2014/main" id="{AF7FE5EA-40E2-4A78-8663-5DB650EEA06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49869" y="2011521"/>
            <a:ext cx="5443108" cy="1253729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spcBef>
                <a:spcPts val="1200"/>
              </a:spcBef>
            </a:pPr>
            <a:r>
              <a:rPr lang="en-GB" sz="1800" b="0" dirty="0">
                <a:solidFill>
                  <a:schemeClr val="accent1">
                    <a:lumMod val="75000"/>
                  </a:schemeClr>
                </a:solidFill>
              </a:rPr>
              <a:t>November 18</a:t>
            </a:r>
            <a:r>
              <a:rPr lang="en-GB" sz="1800" b="0" baseline="30000" dirty="0">
                <a:solidFill>
                  <a:schemeClr val="accent1">
                    <a:lumMod val="75000"/>
                  </a:schemeClr>
                </a:solidFill>
              </a:rPr>
              <a:t>th</a:t>
            </a:r>
            <a:r>
              <a:rPr lang="en-GB" sz="1800" b="0" dirty="0">
                <a:solidFill>
                  <a:schemeClr val="accent1">
                    <a:lumMod val="75000"/>
                  </a:schemeClr>
                </a:solidFill>
              </a:rPr>
              <a:t>, 2020</a:t>
            </a:r>
          </a:p>
          <a:p>
            <a:pPr>
              <a:spcBef>
                <a:spcPts val="1200"/>
              </a:spcBef>
            </a:pPr>
            <a:r>
              <a:rPr lang="en-GB" sz="2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Kick-off Assistants´ Academy </a:t>
            </a:r>
          </a:p>
          <a:p>
            <a:pPr>
              <a:spcBef>
                <a:spcPts val="1200"/>
              </a:spcBef>
            </a:pPr>
            <a:r>
              <a:rPr lang="en-GB" sz="2800" dirty="0">
                <a:solidFill>
                  <a:schemeClr val="accent1">
                    <a:lumMod val="75000"/>
                  </a:schemeClr>
                </a:solidFill>
                <a:cs typeface="Arial"/>
              </a:rPr>
              <a:t>BASF S.A.</a:t>
            </a:r>
            <a:endParaRPr lang="en-GB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60E9D2-8D7F-40E0-B073-4640D68C4A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b="0" smtClean="0">
                <a:solidFill>
                  <a:schemeClr val="tx1"/>
                </a:solidFill>
              </a:rPr>
              <a:pPr/>
              <a:t>1</a:t>
            </a:fld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2EF4125D-5850-40C8-B422-365877623E7E}"/>
              </a:ext>
            </a:extLst>
          </p:cNvPr>
          <p:cNvSpPr/>
          <p:nvPr/>
        </p:nvSpPr>
        <p:spPr>
          <a:xfrm>
            <a:off x="611310" y="6474982"/>
            <a:ext cx="76174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10B03-D230-4701-9F37-B6F131066B93}" type="datetime1">
              <a:rPr kumimoji="0" lang="de-DE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5.2024</a:t>
            </a:fld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E975924-C240-4D57-9970-ECE7187CF7C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51546" y="5798862"/>
            <a:ext cx="3727328" cy="787203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2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spcBef>
                <a:spcPts val="1200"/>
              </a:spcBef>
            </a:pPr>
            <a:r>
              <a:rPr lang="pt-BR" sz="1200" b="0" dirty="0">
                <a:solidFill>
                  <a:schemeClr val="accent1">
                    <a:lumMod val="75000"/>
                  </a:schemeClr>
                </a:solidFill>
              </a:rPr>
              <a:t>Debora Ferreira, Elisa Watanabe, Maria Aparecida Neri, </a:t>
            </a:r>
          </a:p>
          <a:p>
            <a:pPr>
              <a:spcBef>
                <a:spcPts val="1200"/>
              </a:spcBef>
            </a:pPr>
            <a:r>
              <a:rPr lang="pt-BR" sz="1200" b="0" dirty="0">
                <a:solidFill>
                  <a:schemeClr val="accent1">
                    <a:lumMod val="75000"/>
                  </a:schemeClr>
                </a:solidFill>
              </a:rPr>
              <a:t>Mercia Mello, Paola Galera e Thais Paiva.</a:t>
            </a:r>
            <a:endParaRPr lang="en-GB" sz="1200" dirty="0">
              <a:solidFill>
                <a:schemeClr val="accent1">
                  <a:lumMod val="7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112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0D5AD5-6913-4DA7-8F45-77FA972864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1" imgH="361" progId="TCLayout.ActiveDocument.1">
                  <p:embed/>
                </p:oleObj>
              </mc:Choice>
              <mc:Fallback>
                <p:oleObj name="think-cell Slide" r:id="rId5" imgW="361" imgH="36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0D5AD5-6913-4DA7-8F45-77FA97286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38CC825-811E-42E9-B268-8D34208FB9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Foliennummernplatzhalter 7">
            <a:extLst>
              <a:ext uri="{FF2B5EF4-FFF2-40B4-BE49-F238E27FC236}">
                <a16:creationId xmlns:a16="http://schemas.microsoft.com/office/drawing/2014/main" id="{4D1A6A13-EFAF-4FFE-9100-58D853B59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9901" y="6427558"/>
            <a:ext cx="384267" cy="1512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EA1D04-CA53-4DE3-84A8-2B63E41036C9}" type="slidenum"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7CA5A172-1334-4A37-BAB9-A6110302219D}"/>
              </a:ext>
            </a:extLst>
          </p:cNvPr>
          <p:cNvSpPr txBox="1">
            <a:spLocks/>
          </p:cNvSpPr>
          <p:nvPr/>
        </p:nvSpPr>
        <p:spPr>
          <a:xfrm>
            <a:off x="147294" y="1217153"/>
            <a:ext cx="5883654" cy="4808988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n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9138" marR="0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4738" marR="0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10" name="Espaço Reservado para Texto 7">
            <a:extLst>
              <a:ext uri="{FF2B5EF4-FFF2-40B4-BE49-F238E27FC236}">
                <a16:creationId xmlns:a16="http://schemas.microsoft.com/office/drawing/2014/main" id="{BF4F6876-70E4-4A31-A7DB-97FF73F35A20}"/>
              </a:ext>
            </a:extLst>
          </p:cNvPr>
          <p:cNvSpPr txBox="1">
            <a:spLocks/>
          </p:cNvSpPr>
          <p:nvPr/>
        </p:nvSpPr>
        <p:spPr>
          <a:xfrm>
            <a:off x="6017617" y="1217153"/>
            <a:ext cx="5883654" cy="4798028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n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9138" marR="0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4738" marR="0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13" name="Rectangle 161">
            <a:extLst>
              <a:ext uri="{FF2B5EF4-FFF2-40B4-BE49-F238E27FC236}">
                <a16:creationId xmlns:a16="http://schemas.microsoft.com/office/drawing/2014/main" id="{E9708786-D519-4B31-B53B-6DF491FAC510}"/>
              </a:ext>
            </a:extLst>
          </p:cNvPr>
          <p:cNvSpPr/>
          <p:nvPr/>
        </p:nvSpPr>
        <p:spPr>
          <a:xfrm>
            <a:off x="170700" y="984005"/>
            <a:ext cx="11761731" cy="50421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defRPr/>
            </a:pPr>
            <a:endParaRPr lang="pt-BR" dirty="0">
              <a:solidFill>
                <a:srgbClr val="000000"/>
              </a:solidFill>
            </a:endParaRPr>
          </a:p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</a:endParaRPr>
          </a:p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</a:endParaRPr>
          </a:p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</a:endParaRPr>
          </a:p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18" name="Rectangle 10">
            <a:extLst>
              <a:ext uri="{FF2B5EF4-FFF2-40B4-BE49-F238E27FC236}">
                <a16:creationId xmlns:a16="http://schemas.microsoft.com/office/drawing/2014/main" id="{79D32AB1-C313-4798-B27F-2A70DA6A5F77}"/>
              </a:ext>
            </a:extLst>
          </p:cNvPr>
          <p:cNvSpPr/>
          <p:nvPr/>
        </p:nvSpPr>
        <p:spPr>
          <a:xfrm>
            <a:off x="6239902" y="1330433"/>
            <a:ext cx="5436549" cy="4543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defRPr/>
            </a:pPr>
            <a:endParaRPr lang="pt-BR" sz="1600" dirty="0">
              <a:solidFill>
                <a:srgbClr val="000000"/>
              </a:solidFill>
            </a:endParaRPr>
          </a:p>
          <a:p>
            <a:pPr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defRPr/>
            </a:pPr>
            <a:r>
              <a:rPr lang="pt-BR" sz="1600" dirty="0">
                <a:solidFill>
                  <a:srgbClr val="000000"/>
                </a:solidFill>
              </a:rPr>
              <a:t>Por que?</a:t>
            </a:r>
          </a:p>
          <a:p>
            <a:pPr marL="285750" indent="-28575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</a:rPr>
              <a:t>Obter opções específicas de desenvolvimento profissional</a:t>
            </a:r>
          </a:p>
          <a:p>
            <a:pPr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defRPr/>
            </a:pPr>
            <a:endParaRPr lang="pt-BR" sz="1600" dirty="0">
              <a:solidFill>
                <a:srgbClr val="000000"/>
              </a:solidFill>
            </a:endParaRPr>
          </a:p>
          <a:p>
            <a:pPr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defRPr/>
            </a:pPr>
            <a:r>
              <a:rPr lang="pt-BR" sz="1600" dirty="0">
                <a:solidFill>
                  <a:srgbClr val="000000"/>
                </a:solidFill>
              </a:rPr>
              <a:t>Objetivo</a:t>
            </a:r>
          </a:p>
          <a:p>
            <a:pPr marL="285750" indent="-285750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</a:rPr>
              <a:t>Construir uma trilha de desenvolvimento para o Profissional de Secretariado da BASF Brasil</a:t>
            </a:r>
          </a:p>
          <a:p>
            <a:pPr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defRPr/>
            </a:pPr>
            <a:endParaRPr lang="pt-BR" sz="1600" dirty="0">
              <a:solidFill>
                <a:srgbClr val="000000"/>
              </a:solidFill>
            </a:endParaRPr>
          </a:p>
          <a:p>
            <a:pPr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defRPr/>
            </a:pPr>
            <a:r>
              <a:rPr lang="pt-BR" sz="1600" dirty="0">
                <a:solidFill>
                  <a:srgbClr val="000000"/>
                </a:solidFill>
              </a:rPr>
              <a:t>Expectativas futuras</a:t>
            </a:r>
          </a:p>
          <a:p>
            <a:pPr marL="285750" indent="-28575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rgbClr val="000000"/>
                </a:solidFill>
              </a:rPr>
              <a:t>Criação de uma Trilha de Desenvolvimento para o Profissional de Secretariado BASF (Brasil e Global)</a:t>
            </a:r>
          </a:p>
          <a:p>
            <a:pPr marL="285750" indent="-28575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sz="1600" dirty="0">
              <a:solidFill>
                <a:srgbClr val="000000"/>
              </a:solidFill>
            </a:endParaRPr>
          </a:p>
          <a:p>
            <a:pPr marL="285750" indent="-28575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sz="1600" dirty="0">
              <a:solidFill>
                <a:srgbClr val="000000"/>
              </a:solidFill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FDB9164B-EB88-4735-B1D3-FB2F234C1AE1}"/>
              </a:ext>
            </a:extLst>
          </p:cNvPr>
          <p:cNvSpPr txBox="1"/>
          <p:nvPr/>
        </p:nvSpPr>
        <p:spPr>
          <a:xfrm>
            <a:off x="9294829" y="2367543"/>
            <a:ext cx="5656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pt-BR" dirty="0" err="1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38799D11-482E-4D6C-9E74-7C421C30AE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2114" y="1330433"/>
            <a:ext cx="5753847" cy="4539198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F1DA74B8-AF37-441B-AC13-16BECF11D2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6258" y="5129078"/>
            <a:ext cx="2292041" cy="543668"/>
          </a:xfrm>
          <a:prstGeom prst="rect">
            <a:avLst/>
          </a:prstGeom>
        </p:spPr>
      </p:pic>
      <p:sp>
        <p:nvSpPr>
          <p:cNvPr id="7" name="Título 6">
            <a:extLst>
              <a:ext uri="{FF2B5EF4-FFF2-40B4-BE49-F238E27FC236}">
                <a16:creationId xmlns:a16="http://schemas.microsoft.com/office/drawing/2014/main" id="{69B80233-7C54-46A8-AA37-40730E8B2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553563"/>
          </a:xfrm>
        </p:spPr>
        <p:txBody>
          <a:bodyPr/>
          <a:lstStyle/>
          <a:p>
            <a:r>
              <a:rPr lang="en-GB" dirty="0">
                <a:solidFill>
                  <a:srgbClr val="1C5EA2"/>
                </a:solidFill>
              </a:rPr>
              <a:t>Kick-off Assistants´ Academy 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6CC7627A-573F-4C8F-AAD2-7EA5DE57852D}"/>
              </a:ext>
            </a:extLst>
          </p:cNvPr>
          <p:cNvSpPr/>
          <p:nvPr/>
        </p:nvSpPr>
        <p:spPr>
          <a:xfrm>
            <a:off x="624168" y="6372568"/>
            <a:ext cx="76174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10B03-D230-4701-9F37-B6F131066B93}" type="datetime1">
              <a:rPr lang="de-DE" sz="900">
                <a:solidFill>
                  <a:srgbClr val="000000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5.202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9127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72C41A-82C6-4B8D-810F-6C45BA070A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72C41A-82C6-4B8D-810F-6C45BA070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E7AD1FD-8ECC-4D59-8608-B4D9F4D064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i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C7C032B4-3257-4FFE-9130-4DC1052C7028}"/>
              </a:ext>
            </a:extLst>
          </p:cNvPr>
          <p:cNvSpPr/>
          <p:nvPr/>
        </p:nvSpPr>
        <p:spPr>
          <a:xfrm>
            <a:off x="235752" y="1122219"/>
            <a:ext cx="11761731" cy="48578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B3B3F-E6A9-4FE8-80A5-C94FD4CF0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b="0" dirty="0"/>
            </a:br>
            <a:endParaRPr lang="en-US" b="0" dirty="0"/>
          </a:p>
        </p:txBody>
      </p:sp>
      <p:sp>
        <p:nvSpPr>
          <p:cNvPr id="164" name="Date Placeholder 2">
            <a:extLst>
              <a:ext uri="{FF2B5EF4-FFF2-40B4-BE49-F238E27FC236}">
                <a16:creationId xmlns:a16="http://schemas.microsoft.com/office/drawing/2014/main" id="{EF799719-7ABD-4611-8A07-4B024B54D2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6554" y="6516409"/>
            <a:ext cx="468126" cy="175322"/>
          </a:xfrm>
        </p:spPr>
        <p:txBody>
          <a:bodyPr/>
          <a:lstStyle/>
          <a:p>
            <a:fld id="{65010B03-D230-4701-9F37-B6F131066B93}" type="datetime1">
              <a:rPr lang="de-DE" smtClean="0"/>
              <a:t>17.05.2024</a:t>
            </a:fld>
            <a:endParaRPr lang="de-DE" dirty="0"/>
          </a:p>
        </p:txBody>
      </p:sp>
      <p:sp>
        <p:nvSpPr>
          <p:cNvPr id="165" name="Slide Number Placeholder 3">
            <a:extLst>
              <a:ext uri="{FF2B5EF4-FFF2-40B4-BE49-F238E27FC236}">
                <a16:creationId xmlns:a16="http://schemas.microsoft.com/office/drawing/2014/main" id="{88DCD8D1-DC97-4471-B902-725C7EA4F7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808" y="6514798"/>
            <a:ext cx="384217" cy="151200"/>
          </a:xfrm>
        </p:spPr>
        <p:txBody>
          <a:bodyPr/>
          <a:lstStyle/>
          <a:p>
            <a:fld id="{82EA1D04-CA53-4DE3-84A8-2B63E41036C9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2" name="Título 6">
            <a:extLst>
              <a:ext uri="{FF2B5EF4-FFF2-40B4-BE49-F238E27FC236}">
                <a16:creationId xmlns:a16="http://schemas.microsoft.com/office/drawing/2014/main" id="{0D092724-A4F1-4DD9-A1E7-7DB7FEF1AC37}"/>
              </a:ext>
            </a:extLst>
          </p:cNvPr>
          <p:cNvSpPr txBox="1">
            <a:spLocks/>
          </p:cNvSpPr>
          <p:nvPr/>
        </p:nvSpPr>
        <p:spPr>
          <a:xfrm>
            <a:off x="218334" y="430442"/>
            <a:ext cx="11737914" cy="553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2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rgbClr val="1C5EA2"/>
                </a:solidFill>
              </a:rPr>
              <a:t>Kick-off Assistants´ Academy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A1ABE08-2D69-4BC5-B523-A7E8EB74A05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6289" t="26471" r="10404" b="17419"/>
          <a:stretch/>
        </p:blipFill>
        <p:spPr>
          <a:xfrm>
            <a:off x="322119" y="1283642"/>
            <a:ext cx="7029634" cy="350466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A6ACB51F-EC78-4786-9AC6-2647DE11C56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6532" t="26237" r="11613" b="16364"/>
          <a:stretch/>
        </p:blipFill>
        <p:spPr>
          <a:xfrm>
            <a:off x="5477902" y="2475443"/>
            <a:ext cx="6389864" cy="333542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542378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0D5AD5-6913-4DA7-8F45-77FA972864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1" imgH="361" progId="TCLayout.ActiveDocument.1">
                  <p:embed/>
                </p:oleObj>
              </mc:Choice>
              <mc:Fallback>
                <p:oleObj name="think-cell Slide" r:id="rId5" imgW="361" imgH="36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0D5AD5-6913-4DA7-8F45-77FA97286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38CC825-811E-42E9-B268-8D34208FB9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Foliennummernplatzhalter 7">
            <a:extLst>
              <a:ext uri="{FF2B5EF4-FFF2-40B4-BE49-F238E27FC236}">
                <a16:creationId xmlns:a16="http://schemas.microsoft.com/office/drawing/2014/main" id="{4D1A6A13-EFAF-4FFE-9100-58D853B59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1259" y="6474375"/>
            <a:ext cx="384267" cy="10684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EA1D04-CA53-4DE3-84A8-2B63E41036C9}" type="slidenum"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7CA5A172-1334-4A37-BAB9-A6110302219D}"/>
              </a:ext>
            </a:extLst>
          </p:cNvPr>
          <p:cNvSpPr txBox="1">
            <a:spLocks/>
          </p:cNvSpPr>
          <p:nvPr/>
        </p:nvSpPr>
        <p:spPr>
          <a:xfrm>
            <a:off x="147294" y="1217153"/>
            <a:ext cx="5883654" cy="4808988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n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9138" marR="0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4738" marR="0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10" name="Espaço Reservado para Texto 7">
            <a:extLst>
              <a:ext uri="{FF2B5EF4-FFF2-40B4-BE49-F238E27FC236}">
                <a16:creationId xmlns:a16="http://schemas.microsoft.com/office/drawing/2014/main" id="{BF4F6876-70E4-4A31-A7DB-97FF73F35A20}"/>
              </a:ext>
            </a:extLst>
          </p:cNvPr>
          <p:cNvSpPr txBox="1">
            <a:spLocks/>
          </p:cNvSpPr>
          <p:nvPr/>
        </p:nvSpPr>
        <p:spPr>
          <a:xfrm>
            <a:off x="6017617" y="1217153"/>
            <a:ext cx="5883654" cy="4798028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n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9138" marR="0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4738" marR="0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13" name="Rectangle 161">
            <a:extLst>
              <a:ext uri="{FF2B5EF4-FFF2-40B4-BE49-F238E27FC236}">
                <a16:creationId xmlns:a16="http://schemas.microsoft.com/office/drawing/2014/main" id="{E9708786-D519-4B31-B53B-6DF491FAC510}"/>
              </a:ext>
            </a:extLst>
          </p:cNvPr>
          <p:cNvSpPr/>
          <p:nvPr/>
        </p:nvSpPr>
        <p:spPr>
          <a:xfrm>
            <a:off x="170700" y="984005"/>
            <a:ext cx="11761731" cy="4889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defRPr/>
            </a:pPr>
            <a:endParaRPr lang="pt-BR" dirty="0">
              <a:solidFill>
                <a:srgbClr val="000000"/>
              </a:solidFill>
            </a:endParaRPr>
          </a:p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</a:endParaRPr>
          </a:p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</a:endParaRPr>
          </a:p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</a:endParaRPr>
          </a:p>
          <a:p>
            <a:pPr lvl="0" defTabSz="685891">
              <a:lnSpc>
                <a:spcPct val="95000"/>
              </a:lnSpc>
              <a:spcBef>
                <a:spcPts val="600"/>
              </a:spcBef>
              <a:buClr>
                <a:srgbClr val="004A96"/>
              </a:buClr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1538244F-156A-451F-BF42-589C300AECC3}"/>
              </a:ext>
            </a:extLst>
          </p:cNvPr>
          <p:cNvSpPr/>
          <p:nvPr/>
        </p:nvSpPr>
        <p:spPr>
          <a:xfrm>
            <a:off x="413393" y="6412384"/>
            <a:ext cx="76174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10B03-D230-4701-9F37-B6F131066B93}" type="datetime1">
              <a:rPr lang="de-DE" sz="900">
                <a:solidFill>
                  <a:srgbClr val="000000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5.2024</a:t>
            </a:fld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69E8E967-9AF1-4561-AD88-6C8F767554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4499" r="4830" b="4088"/>
          <a:stretch/>
        </p:blipFill>
        <p:spPr>
          <a:xfrm>
            <a:off x="413668" y="1106258"/>
            <a:ext cx="7005442" cy="322621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ítulo 6">
            <a:extLst>
              <a:ext uri="{FF2B5EF4-FFF2-40B4-BE49-F238E27FC236}">
                <a16:creationId xmlns:a16="http://schemas.microsoft.com/office/drawing/2014/main" id="{0802EE1C-3C46-49B4-A28A-66A6DE9B28AD}"/>
              </a:ext>
            </a:extLst>
          </p:cNvPr>
          <p:cNvSpPr txBox="1">
            <a:spLocks/>
          </p:cNvSpPr>
          <p:nvPr/>
        </p:nvSpPr>
        <p:spPr>
          <a:xfrm>
            <a:off x="218334" y="430442"/>
            <a:ext cx="11737914" cy="553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2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GB">
                <a:solidFill>
                  <a:srgbClr val="1C5EA2"/>
                </a:solidFill>
              </a:rPr>
              <a:t>Kick-off Assistants´ Academy </a:t>
            </a:r>
            <a:endParaRPr lang="en-GB" dirty="0">
              <a:solidFill>
                <a:srgbClr val="1C5EA2"/>
              </a:solidFill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3FA75C6-5E67-4BF5-85B8-F0AF5940078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16307" b="44545"/>
          <a:stretch/>
        </p:blipFill>
        <p:spPr>
          <a:xfrm>
            <a:off x="4235942" y="2940627"/>
            <a:ext cx="7542390" cy="2811115"/>
          </a:xfrm>
          <a:prstGeom prst="rect">
            <a:avLst/>
          </a:prstGeom>
          <a:ln>
            <a:solidFill>
              <a:srgbClr val="1C5E84"/>
            </a:solidFill>
          </a:ln>
        </p:spPr>
      </p:pic>
    </p:spTree>
    <p:extLst>
      <p:ext uri="{BB962C8B-B14F-4D97-AF65-F5344CB8AC3E}">
        <p14:creationId xmlns:p14="http://schemas.microsoft.com/office/powerpoint/2010/main" val="287316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5AAA7C29-CFB9-45DA-8A11-E6603089CC7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CB9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4" name="Imagem 3" descr="Uma imagem contendo guarda-chuva&#10;&#10;Descrição gerada automaticamente">
            <a:extLst>
              <a:ext uri="{FF2B5EF4-FFF2-40B4-BE49-F238E27FC236}">
                <a16:creationId xmlns:a16="http://schemas.microsoft.com/office/drawing/2014/main" id="{33AC63F3-79AE-40C6-A1A7-9D0F893543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614" y="-1411"/>
            <a:ext cx="11177386" cy="6860822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60E9D2-8D7F-40E0-B073-4640D68C4A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b="0" smtClean="0">
                <a:solidFill>
                  <a:schemeClr val="tx1"/>
                </a:solidFill>
              </a:rPr>
              <a:pPr/>
              <a:t>5</a:t>
            </a:fld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2EF4125D-5850-40C8-B422-365877623E7E}"/>
              </a:ext>
            </a:extLst>
          </p:cNvPr>
          <p:cNvSpPr/>
          <p:nvPr/>
        </p:nvSpPr>
        <p:spPr>
          <a:xfrm>
            <a:off x="611310" y="6474982"/>
            <a:ext cx="76174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10B03-D230-4701-9F37-B6F131066B93}" type="datetime1">
              <a:rPr kumimoji="0" lang="de-DE" sz="9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5.2024</a:t>
            </a:fld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5648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6178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BASF_CONVERTED_TO_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eb1f5SSH6SaG_E5lG3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u31JQlTChzNJv1B.T0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eb1f5SSH6SaG_E5lG3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eAiMJoOyCBHg7Q0B6F4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ASF_FolienDesign_V10">
  <a:themeElements>
    <a:clrScheme name="01 BASF darkblue_colorshem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6" id="{037919FB-2303-452E-8E3D-95DA4141C5AB}" vid="{EE6271D4-6DD1-48C3-A2A3-817EBE0B4B94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9AD9EBA13F3D4D944610359B871BE0" ma:contentTypeVersion="13" ma:contentTypeDescription="Create a new document." ma:contentTypeScope="" ma:versionID="a85c7d4f14b83c609cdb2c015eb8a140">
  <xsd:schema xmlns:xsd="http://www.w3.org/2001/XMLSchema" xmlns:xs="http://www.w3.org/2001/XMLSchema" xmlns:p="http://schemas.microsoft.com/office/2006/metadata/properties" xmlns:ns3="17aa4704-7aed-413d-8a9a-c60d44b05089" xmlns:ns4="32e2eb3e-52c0-43a9-b66b-53c93d71b614" targetNamespace="http://schemas.microsoft.com/office/2006/metadata/properties" ma:root="true" ma:fieldsID="59f19b0a97e2d0e1968a64732c721ba1" ns3:_="" ns4:_="">
    <xsd:import namespace="17aa4704-7aed-413d-8a9a-c60d44b05089"/>
    <xsd:import namespace="32e2eb3e-52c0-43a9-b66b-53c93d71b61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aa4704-7aed-413d-8a9a-c60d44b0508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e2eb3e-52c0-43a9-b66b-53c93d71b6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CBC2FE9-5895-45CA-B978-3A40D8D138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aa4704-7aed-413d-8a9a-c60d44b05089"/>
    <ds:schemaRef ds:uri="32e2eb3e-52c0-43a9-b66b-53c93d71b6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FABC4EF-2891-4A43-9CCD-3972EAA63E1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AA6C54-1F2F-489D-A3BE-4488DF2AD81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1</Words>
  <Application>Microsoft Office PowerPoint</Application>
  <PresentationFormat>Widescreen</PresentationFormat>
  <Paragraphs>49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Wingdings</vt:lpstr>
      <vt:lpstr>Wingdings 3</vt:lpstr>
      <vt:lpstr>Tema do Office</vt:lpstr>
      <vt:lpstr>1_BASF_FolienDesign_V10</vt:lpstr>
      <vt:lpstr>think-cell Slide</vt:lpstr>
      <vt:lpstr>PowerPoint Presentation</vt:lpstr>
      <vt:lpstr>Kick-off Assistants´ Academy </vt:lpstr>
      <vt:lpstr>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Paola Andrea Galera</dc:creator>
  <cp:lastModifiedBy>paola-andrea.galera@basf.com</cp:lastModifiedBy>
  <cp:revision>58</cp:revision>
  <dcterms:created xsi:type="dcterms:W3CDTF">2020-08-23T16:27:41Z</dcterms:created>
  <dcterms:modified xsi:type="dcterms:W3CDTF">2024-05-17T20:3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9AD9EBA13F3D4D944610359B871BE0</vt:lpwstr>
  </property>
  <property fmtid="{D5CDD505-2E9C-101B-9397-08002B2CF9AE}" pid="3" name="Classification_to_AIP">
    <vt:i4>0</vt:i4>
  </property>
  <property fmtid="{D5CDD505-2E9C-101B-9397-08002B2CF9AE}" pid="4" name="MSIP_Label_06530cf4-8573-4c29-a912-bbcdac835909_Enabled">
    <vt:lpwstr>true</vt:lpwstr>
  </property>
  <property fmtid="{D5CDD505-2E9C-101B-9397-08002B2CF9AE}" pid="5" name="MSIP_Label_06530cf4-8573-4c29-a912-bbcdac835909_SetDate">
    <vt:lpwstr>2024-05-17T20:38:23Z</vt:lpwstr>
  </property>
  <property fmtid="{D5CDD505-2E9C-101B-9397-08002B2CF9AE}" pid="6" name="MSIP_Label_06530cf4-8573-4c29-a912-bbcdac835909_Method">
    <vt:lpwstr>Standard</vt:lpwstr>
  </property>
  <property fmtid="{D5CDD505-2E9C-101B-9397-08002B2CF9AE}" pid="7" name="MSIP_Label_06530cf4-8573-4c29-a912-bbcdac835909_Name">
    <vt:lpwstr>06530cf4-8573-4c29-a912-bbcdac835909</vt:lpwstr>
  </property>
  <property fmtid="{D5CDD505-2E9C-101B-9397-08002B2CF9AE}" pid="8" name="MSIP_Label_06530cf4-8573-4c29-a912-bbcdac835909_SiteId">
    <vt:lpwstr>ecaa386b-c8df-4ce0-ad01-740cbdb5ba55</vt:lpwstr>
  </property>
  <property fmtid="{D5CDD505-2E9C-101B-9397-08002B2CF9AE}" pid="9" name="MSIP_Label_06530cf4-8573-4c29-a912-bbcdac835909_ActionId">
    <vt:lpwstr>7680ffd5-fb51-44b8-ae65-6e3e92f50719</vt:lpwstr>
  </property>
  <property fmtid="{D5CDD505-2E9C-101B-9397-08002B2CF9AE}" pid="10" name="MSIP_Label_06530cf4-8573-4c29-a912-bbcdac835909_ContentBits">
    <vt:lpwstr>2</vt:lpwstr>
  </property>
  <property fmtid="{D5CDD505-2E9C-101B-9397-08002B2CF9AE}" pid="11" name="ClassificationContentMarkingFooterLocations">
    <vt:lpwstr>Tema do Office:8\1_BASF_FolienDesign_V10:5</vt:lpwstr>
  </property>
  <property fmtid="{D5CDD505-2E9C-101B-9397-08002B2CF9AE}" pid="12" name="ClassificationContentMarkingFooterText">
    <vt:lpwstr>Internal</vt:lpwstr>
  </property>
</Properties>
</file>